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208898A-C382-4E94-985E-C2D851C9E88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9877512716642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8295757636371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361351398276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54888881516963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9399272764057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010804013644234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69975341295996</c:v>
                </c:pt>
                <c:pt idx="3">
                  <c:v>0.30543308695839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423183359532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179703717718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544690099683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3601672938666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473723593969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814227232525315</c:v>
                </c:pt>
                <c:pt idx="3">
                  <c:v>0.343817503849751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0804288382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649961354899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544690099683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57192084354246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473723593969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38026092040566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96831123930782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814227232525315</c:v>
                </c:pt>
                <c:pt idx="3">
                  <c:v>0.343817503849751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0804288382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361351398276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85201871273383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9399272764057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69975341295996</c:v>
                </c:pt>
                <c:pt idx="3">
                  <c:v>0.30543308695839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423183359532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179703717718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649961354899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5446900996835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473723593969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54080582373373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814227232525315</c:v>
                </c:pt>
                <c:pt idx="3">
                  <c:v>0.343817503849751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63041307564614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0804288382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6499613548996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931883362298</c:v>
                </c:pt>
                <c:pt idx="3">
                  <c:v>0.1531700171798475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68193578331455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810687796982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361351398276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93992727640575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01388589009303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69975341295996</c:v>
                </c:pt>
                <c:pt idx="3">
                  <c:v>0.30543308695839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48277582552700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423183359532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17970371771819</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123540226656832</c:v>
                </c:pt>
                <c:pt idx="3">
                  <c:v>0.133378279372676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12412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90101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897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1885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4644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71690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6492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49603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85589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9477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86473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976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595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20831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6631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4123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6766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39936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16315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5065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7037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00897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29465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0067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03634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710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31520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90526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15996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012548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14551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1275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55240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80761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7126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82496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47391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219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050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23151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47746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4090071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448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22292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7034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3373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7125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8/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33120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